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98" r:id="rId5"/>
    <p:sldId id="286" r:id="rId6"/>
  </p:sldIdLst>
  <p:sldSz cx="6858000" cy="5143500"/>
  <p:notesSz cx="7010400" cy="92964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860"/>
    <a:srgbClr val="1E3813"/>
    <a:srgbClr val="F4F4F4"/>
    <a:srgbClr val="17294E"/>
    <a:srgbClr val="F89539"/>
    <a:srgbClr val="FAA661"/>
    <a:srgbClr val="1D2845"/>
    <a:srgbClr val="1F3861"/>
    <a:srgbClr val="1F3860"/>
    <a:srgbClr val="1F38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52481C-216A-4979-96F3-724202CC5FE5}" v="1" dt="2022-03-24T15:24:38.6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300" autoAdjust="0"/>
    <p:restoredTop sz="63549" autoAdjust="0"/>
  </p:normalViewPr>
  <p:slideViewPr>
    <p:cSldViewPr snapToGrid="0" snapToObjects="1">
      <p:cViewPr varScale="1">
        <p:scale>
          <a:sx n="46" d="100"/>
          <a:sy n="46" d="100"/>
        </p:scale>
        <p:origin x="1740" y="42"/>
      </p:cViewPr>
      <p:guideLst>
        <p:guide orient="horz" pos="16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zabeth Hayden" userId="200393bf-f061-4e9f-bcfb-b5ea5b2b6a55" providerId="ADAL" clId="{2052481C-216A-4979-96F3-724202CC5FE5}"/>
    <pc:docChg chg="undo custSel delSld modSld">
      <pc:chgData name="Elizabeth Hayden" userId="200393bf-f061-4e9f-bcfb-b5ea5b2b6a55" providerId="ADAL" clId="{2052481C-216A-4979-96F3-724202CC5FE5}" dt="2022-03-24T15:58:22.187" v="5534" actId="20577"/>
      <pc:docMkLst>
        <pc:docMk/>
      </pc:docMkLst>
      <pc:sldChg chg="del">
        <pc:chgData name="Elizabeth Hayden" userId="200393bf-f061-4e9f-bcfb-b5ea5b2b6a55" providerId="ADAL" clId="{2052481C-216A-4979-96F3-724202CC5FE5}" dt="2022-03-22T20:09:18.637" v="0" actId="2696"/>
        <pc:sldMkLst>
          <pc:docMk/>
          <pc:sldMk cId="2362413657" sldId="258"/>
        </pc:sldMkLst>
      </pc:sldChg>
      <pc:sldChg chg="del">
        <pc:chgData name="Elizabeth Hayden" userId="200393bf-f061-4e9f-bcfb-b5ea5b2b6a55" providerId="ADAL" clId="{2052481C-216A-4979-96F3-724202CC5FE5}" dt="2022-03-22T20:10:03.221" v="3" actId="47"/>
        <pc:sldMkLst>
          <pc:docMk/>
          <pc:sldMk cId="1108709592" sldId="276"/>
        </pc:sldMkLst>
      </pc:sldChg>
      <pc:sldChg chg="del">
        <pc:chgData name="Elizabeth Hayden" userId="200393bf-f061-4e9f-bcfb-b5ea5b2b6a55" providerId="ADAL" clId="{2052481C-216A-4979-96F3-724202CC5FE5}" dt="2022-03-22T20:10:03.221" v="3" actId="47"/>
        <pc:sldMkLst>
          <pc:docMk/>
          <pc:sldMk cId="1084537536" sldId="277"/>
        </pc:sldMkLst>
      </pc:sldChg>
      <pc:sldChg chg="del">
        <pc:chgData name="Elizabeth Hayden" userId="200393bf-f061-4e9f-bcfb-b5ea5b2b6a55" providerId="ADAL" clId="{2052481C-216A-4979-96F3-724202CC5FE5}" dt="2022-03-22T20:10:03.221" v="3" actId="47"/>
        <pc:sldMkLst>
          <pc:docMk/>
          <pc:sldMk cId="4189679004" sldId="279"/>
        </pc:sldMkLst>
      </pc:sldChg>
      <pc:sldChg chg="del">
        <pc:chgData name="Elizabeth Hayden" userId="200393bf-f061-4e9f-bcfb-b5ea5b2b6a55" providerId="ADAL" clId="{2052481C-216A-4979-96F3-724202CC5FE5}" dt="2022-03-22T20:10:03.221" v="3" actId="47"/>
        <pc:sldMkLst>
          <pc:docMk/>
          <pc:sldMk cId="2317998826" sldId="284"/>
        </pc:sldMkLst>
      </pc:sldChg>
      <pc:sldChg chg="addSp delSp modSp mod modNotesTx">
        <pc:chgData name="Elizabeth Hayden" userId="200393bf-f061-4e9f-bcfb-b5ea5b2b6a55" providerId="ADAL" clId="{2052481C-216A-4979-96F3-724202CC5FE5}" dt="2022-03-24T15:58:22.187" v="5534" actId="20577"/>
        <pc:sldMkLst>
          <pc:docMk/>
          <pc:sldMk cId="1719532064" sldId="286"/>
        </pc:sldMkLst>
        <pc:spChg chg="mod">
          <ac:chgData name="Elizabeth Hayden" userId="200393bf-f061-4e9f-bcfb-b5ea5b2b6a55" providerId="ADAL" clId="{2052481C-216A-4979-96F3-724202CC5FE5}" dt="2022-03-22T22:55:47.629" v="174" actId="20577"/>
          <ac:spMkLst>
            <pc:docMk/>
            <pc:sldMk cId="1719532064" sldId="286"/>
            <ac:spMk id="9" creationId="{00000000-0000-0000-0000-000000000000}"/>
          </ac:spMkLst>
        </pc:spChg>
        <pc:spChg chg="mod">
          <ac:chgData name="Elizabeth Hayden" userId="200393bf-f061-4e9f-bcfb-b5ea5b2b6a55" providerId="ADAL" clId="{2052481C-216A-4979-96F3-724202CC5FE5}" dt="2022-03-24T15:48:25.232" v="3411" actId="20577"/>
          <ac:spMkLst>
            <pc:docMk/>
            <pc:sldMk cId="1719532064" sldId="286"/>
            <ac:spMk id="10" creationId="{00000000-0000-0000-0000-000000000000}"/>
          </ac:spMkLst>
        </pc:spChg>
        <pc:spChg chg="mod">
          <ac:chgData name="Elizabeth Hayden" userId="200393bf-f061-4e9f-bcfb-b5ea5b2b6a55" providerId="ADAL" clId="{2052481C-216A-4979-96F3-724202CC5FE5}" dt="2022-03-22T22:55:40.967" v="156" actId="20577"/>
          <ac:spMkLst>
            <pc:docMk/>
            <pc:sldMk cId="1719532064" sldId="286"/>
            <ac:spMk id="11" creationId="{00000000-0000-0000-0000-000000000000}"/>
          </ac:spMkLst>
        </pc:spChg>
        <pc:picChg chg="add del mod">
          <ac:chgData name="Elizabeth Hayden" userId="200393bf-f061-4e9f-bcfb-b5ea5b2b6a55" providerId="ADAL" clId="{2052481C-216A-4979-96F3-724202CC5FE5}" dt="2022-03-24T15:04:49.537" v="2677" actId="478"/>
          <ac:picMkLst>
            <pc:docMk/>
            <pc:sldMk cId="1719532064" sldId="286"/>
            <ac:picMk id="4" creationId="{2E5E3C78-390B-47FD-BE89-16322C6E3FE7}"/>
          </ac:picMkLst>
        </pc:picChg>
        <pc:picChg chg="add mod">
          <ac:chgData name="Elizabeth Hayden" userId="200393bf-f061-4e9f-bcfb-b5ea5b2b6a55" providerId="ADAL" clId="{2052481C-216A-4979-96F3-724202CC5FE5}" dt="2022-03-24T15:31:04.602" v="2735" actId="1076"/>
          <ac:picMkLst>
            <pc:docMk/>
            <pc:sldMk cId="1719532064" sldId="286"/>
            <ac:picMk id="6" creationId="{520969B3-9297-458C-8A13-AF9F9939BD31}"/>
          </ac:picMkLst>
        </pc:picChg>
      </pc:sldChg>
      <pc:sldChg chg="del">
        <pc:chgData name="Elizabeth Hayden" userId="200393bf-f061-4e9f-bcfb-b5ea5b2b6a55" providerId="ADAL" clId="{2052481C-216A-4979-96F3-724202CC5FE5}" dt="2022-03-24T14:59:56.623" v="2613" actId="47"/>
        <pc:sldMkLst>
          <pc:docMk/>
          <pc:sldMk cId="991435932" sldId="287"/>
        </pc:sldMkLst>
      </pc:sldChg>
      <pc:sldChg chg="del">
        <pc:chgData name="Elizabeth Hayden" userId="200393bf-f061-4e9f-bcfb-b5ea5b2b6a55" providerId="ADAL" clId="{2052481C-216A-4979-96F3-724202CC5FE5}" dt="2022-03-24T14:59:56.623" v="2613" actId="47"/>
        <pc:sldMkLst>
          <pc:docMk/>
          <pc:sldMk cId="2214908331" sldId="288"/>
        </pc:sldMkLst>
      </pc:sldChg>
      <pc:sldChg chg="del">
        <pc:chgData name="Elizabeth Hayden" userId="200393bf-f061-4e9f-bcfb-b5ea5b2b6a55" providerId="ADAL" clId="{2052481C-216A-4979-96F3-724202CC5FE5}" dt="2022-03-24T14:59:56.623" v="2613" actId="47"/>
        <pc:sldMkLst>
          <pc:docMk/>
          <pc:sldMk cId="276392244" sldId="289"/>
        </pc:sldMkLst>
      </pc:sldChg>
      <pc:sldChg chg="del">
        <pc:chgData name="Elizabeth Hayden" userId="200393bf-f061-4e9f-bcfb-b5ea5b2b6a55" providerId="ADAL" clId="{2052481C-216A-4979-96F3-724202CC5FE5}" dt="2022-03-24T14:59:56.623" v="2613" actId="47"/>
        <pc:sldMkLst>
          <pc:docMk/>
          <pc:sldMk cId="3447251475" sldId="290"/>
        </pc:sldMkLst>
      </pc:sldChg>
      <pc:sldChg chg="del">
        <pc:chgData name="Elizabeth Hayden" userId="200393bf-f061-4e9f-bcfb-b5ea5b2b6a55" providerId="ADAL" clId="{2052481C-216A-4979-96F3-724202CC5FE5}" dt="2022-03-22T20:09:44.872" v="2" actId="2696"/>
        <pc:sldMkLst>
          <pc:docMk/>
          <pc:sldMk cId="1379167177" sldId="291"/>
        </pc:sldMkLst>
      </pc:sldChg>
      <pc:sldChg chg="del">
        <pc:chgData name="Elizabeth Hayden" userId="200393bf-f061-4e9f-bcfb-b5ea5b2b6a55" providerId="ADAL" clId="{2052481C-216A-4979-96F3-724202CC5FE5}" dt="2022-03-22T20:09:44.872" v="2" actId="2696"/>
        <pc:sldMkLst>
          <pc:docMk/>
          <pc:sldMk cId="651802170" sldId="292"/>
        </pc:sldMkLst>
      </pc:sldChg>
      <pc:sldChg chg="del">
        <pc:chgData name="Elizabeth Hayden" userId="200393bf-f061-4e9f-bcfb-b5ea5b2b6a55" providerId="ADAL" clId="{2052481C-216A-4979-96F3-724202CC5FE5}" dt="2022-03-22T20:09:44.872" v="2" actId="2696"/>
        <pc:sldMkLst>
          <pc:docMk/>
          <pc:sldMk cId="2392947136" sldId="293"/>
        </pc:sldMkLst>
      </pc:sldChg>
      <pc:sldChg chg="del">
        <pc:chgData name="Elizabeth Hayden" userId="200393bf-f061-4e9f-bcfb-b5ea5b2b6a55" providerId="ADAL" clId="{2052481C-216A-4979-96F3-724202CC5FE5}" dt="2022-03-22T20:09:44.872" v="2" actId="2696"/>
        <pc:sldMkLst>
          <pc:docMk/>
          <pc:sldMk cId="288763876" sldId="294"/>
        </pc:sldMkLst>
      </pc:sldChg>
      <pc:sldChg chg="del">
        <pc:chgData name="Elizabeth Hayden" userId="200393bf-f061-4e9f-bcfb-b5ea5b2b6a55" providerId="ADAL" clId="{2052481C-216A-4979-96F3-724202CC5FE5}" dt="2022-03-22T20:09:44.872" v="2" actId="2696"/>
        <pc:sldMkLst>
          <pc:docMk/>
          <pc:sldMk cId="2574224347" sldId="295"/>
        </pc:sldMkLst>
      </pc:sldChg>
      <pc:sldChg chg="del">
        <pc:chgData name="Elizabeth Hayden" userId="200393bf-f061-4e9f-bcfb-b5ea5b2b6a55" providerId="ADAL" clId="{2052481C-216A-4979-96F3-724202CC5FE5}" dt="2022-03-22T20:09:21.907" v="1" actId="2696"/>
        <pc:sldMkLst>
          <pc:docMk/>
          <pc:sldMk cId="446376121" sldId="296"/>
        </pc:sldMkLst>
      </pc:sldChg>
      <pc:sldChg chg="del">
        <pc:chgData name="Elizabeth Hayden" userId="200393bf-f061-4e9f-bcfb-b5ea5b2b6a55" providerId="ADAL" clId="{2052481C-216A-4979-96F3-724202CC5FE5}" dt="2022-03-24T14:59:56.623" v="2613" actId="47"/>
        <pc:sldMkLst>
          <pc:docMk/>
          <pc:sldMk cId="1176473019" sldId="297"/>
        </pc:sldMkLst>
      </pc:sldChg>
      <pc:sldChg chg="modSp mod">
        <pc:chgData name="Elizabeth Hayden" userId="200393bf-f061-4e9f-bcfb-b5ea5b2b6a55" providerId="ADAL" clId="{2052481C-216A-4979-96F3-724202CC5FE5}" dt="2022-03-24T14:49:16.616" v="2612" actId="20577"/>
        <pc:sldMkLst>
          <pc:docMk/>
          <pc:sldMk cId="3808089032" sldId="298"/>
        </pc:sldMkLst>
        <pc:spChg chg="mod">
          <ac:chgData name="Elizabeth Hayden" userId="200393bf-f061-4e9f-bcfb-b5ea5b2b6a55" providerId="ADAL" clId="{2052481C-216A-4979-96F3-724202CC5FE5}" dt="2022-03-24T14:49:16.616" v="2612" actId="20577"/>
          <ac:spMkLst>
            <pc:docMk/>
            <pc:sldMk cId="3808089032" sldId="298"/>
            <ac:spMk id="6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7DA51E-B400-C64E-86CA-FDF5CAEC30AA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E321DDD-DAE9-B948-82E5-A7C972F3D2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0009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2BA4F6F5-88C3-6247-B71F-7F6E68E85B53}" type="datetimeFigureOut">
              <a:rPr lang="en-US" smtClean="0"/>
              <a:pPr/>
              <a:t>4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7133FCCB-33A4-F343-8A73-7EE34B04E6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515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3FCCB-33A4-F343-8A73-7EE34B04E6A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983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3FCCB-33A4-F343-8A73-7EE34B04E6A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603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7.gi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5.gif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gi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D38C718-8062-654B-9A03-9ECC90E6A79C}"/>
              </a:ext>
            </a:extLst>
          </p:cNvPr>
          <p:cNvSpPr/>
          <p:nvPr userDrawn="1"/>
        </p:nvSpPr>
        <p:spPr>
          <a:xfrm rot="10800000">
            <a:off x="0" y="-1"/>
            <a:ext cx="6858000" cy="5143500"/>
          </a:xfrm>
          <a:prstGeom prst="rect">
            <a:avLst/>
          </a:prstGeom>
          <a:gradFill>
            <a:gsLst>
              <a:gs pos="0">
                <a:schemeClr val="accent1">
                  <a:lumMod val="84000"/>
                  <a:lumOff val="16000"/>
                </a:schemeClr>
              </a:gs>
              <a:gs pos="57000">
                <a:srgbClr val="1E3860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 bwMode="blackWhite">
          <a:xfrm>
            <a:off x="2438014" y="8314"/>
            <a:ext cx="4119985" cy="5139267"/>
          </a:xfrm>
          <a:custGeom>
            <a:avLst/>
            <a:gdLst>
              <a:gd name="connsiteX0" fmla="*/ 0 w 4760065"/>
              <a:gd name="connsiteY0" fmla="*/ 0 h 3753383"/>
              <a:gd name="connsiteX1" fmla="*/ 4760065 w 4760065"/>
              <a:gd name="connsiteY1" fmla="*/ 0 h 3753383"/>
              <a:gd name="connsiteX2" fmla="*/ 4760065 w 4760065"/>
              <a:gd name="connsiteY2" fmla="*/ 3753383 h 3753383"/>
              <a:gd name="connsiteX3" fmla="*/ 0 w 4760065"/>
              <a:gd name="connsiteY3" fmla="*/ 3753383 h 3753383"/>
              <a:gd name="connsiteX4" fmla="*/ 0 w 4760065"/>
              <a:gd name="connsiteY4" fmla="*/ 0 h 3753383"/>
              <a:gd name="connsiteX0" fmla="*/ 0 w 4760065"/>
              <a:gd name="connsiteY0" fmla="*/ 0 h 3753383"/>
              <a:gd name="connsiteX1" fmla="*/ 4028545 w 4760065"/>
              <a:gd name="connsiteY1" fmla="*/ 1479666 h 3753383"/>
              <a:gd name="connsiteX2" fmla="*/ 4760065 w 4760065"/>
              <a:gd name="connsiteY2" fmla="*/ 3753383 h 3753383"/>
              <a:gd name="connsiteX3" fmla="*/ 0 w 4760065"/>
              <a:gd name="connsiteY3" fmla="*/ 3753383 h 3753383"/>
              <a:gd name="connsiteX4" fmla="*/ 0 w 4760065"/>
              <a:gd name="connsiteY4" fmla="*/ 0 h 3753383"/>
              <a:gd name="connsiteX0" fmla="*/ 0 w 4028545"/>
              <a:gd name="connsiteY0" fmla="*/ 0 h 3753383"/>
              <a:gd name="connsiteX1" fmla="*/ 4028545 w 4028545"/>
              <a:gd name="connsiteY1" fmla="*/ 1479666 h 3753383"/>
              <a:gd name="connsiteX2" fmla="*/ 1767483 w 4028545"/>
              <a:gd name="connsiteY2" fmla="*/ 3745070 h 3753383"/>
              <a:gd name="connsiteX3" fmla="*/ 0 w 4028545"/>
              <a:gd name="connsiteY3" fmla="*/ 3753383 h 3753383"/>
              <a:gd name="connsiteX4" fmla="*/ 0 w 4028545"/>
              <a:gd name="connsiteY4" fmla="*/ 0 h 3753383"/>
              <a:gd name="connsiteX0" fmla="*/ 0 w 4028545"/>
              <a:gd name="connsiteY0" fmla="*/ 0 h 3745071"/>
              <a:gd name="connsiteX1" fmla="*/ 4028545 w 4028545"/>
              <a:gd name="connsiteY1" fmla="*/ 1479666 h 3745071"/>
              <a:gd name="connsiteX2" fmla="*/ 1767483 w 4028545"/>
              <a:gd name="connsiteY2" fmla="*/ 3745070 h 3745071"/>
              <a:gd name="connsiteX3" fmla="*/ 615142 w 4028545"/>
              <a:gd name="connsiteY3" fmla="*/ 3745071 h 3745071"/>
              <a:gd name="connsiteX4" fmla="*/ 0 w 4028545"/>
              <a:gd name="connsiteY4" fmla="*/ 0 h 3745071"/>
              <a:gd name="connsiteX0" fmla="*/ 955963 w 3413403"/>
              <a:gd name="connsiteY0" fmla="*/ 0 h 4684409"/>
              <a:gd name="connsiteX1" fmla="*/ 3413403 w 3413403"/>
              <a:gd name="connsiteY1" fmla="*/ 2419004 h 4684409"/>
              <a:gd name="connsiteX2" fmla="*/ 1152341 w 3413403"/>
              <a:gd name="connsiteY2" fmla="*/ 4684408 h 4684409"/>
              <a:gd name="connsiteX3" fmla="*/ 0 w 3413403"/>
              <a:gd name="connsiteY3" fmla="*/ 4684409 h 4684409"/>
              <a:gd name="connsiteX4" fmla="*/ 955963 w 3413403"/>
              <a:gd name="connsiteY4" fmla="*/ 0 h 4684409"/>
              <a:gd name="connsiteX0" fmla="*/ 955963 w 3413403"/>
              <a:gd name="connsiteY0" fmla="*/ 0 h 4684409"/>
              <a:gd name="connsiteX1" fmla="*/ 3413403 w 3413403"/>
              <a:gd name="connsiteY1" fmla="*/ 2419004 h 4684409"/>
              <a:gd name="connsiteX2" fmla="*/ 1152341 w 3413403"/>
              <a:gd name="connsiteY2" fmla="*/ 4684408 h 4684409"/>
              <a:gd name="connsiteX3" fmla="*/ 0 w 3413403"/>
              <a:gd name="connsiteY3" fmla="*/ 4684409 h 4684409"/>
              <a:gd name="connsiteX4" fmla="*/ 771247 w 3413403"/>
              <a:gd name="connsiteY4" fmla="*/ 891802 h 4684409"/>
              <a:gd name="connsiteX5" fmla="*/ 955963 w 3413403"/>
              <a:gd name="connsiteY5" fmla="*/ 0 h 4684409"/>
              <a:gd name="connsiteX0" fmla="*/ 1107429 w 3564869"/>
              <a:gd name="connsiteY0" fmla="*/ 0 h 4684409"/>
              <a:gd name="connsiteX1" fmla="*/ 3564869 w 3564869"/>
              <a:gd name="connsiteY1" fmla="*/ 2419004 h 4684409"/>
              <a:gd name="connsiteX2" fmla="*/ 1303807 w 3564869"/>
              <a:gd name="connsiteY2" fmla="*/ 4684408 h 4684409"/>
              <a:gd name="connsiteX3" fmla="*/ 151466 w 3564869"/>
              <a:gd name="connsiteY3" fmla="*/ 4684409 h 4684409"/>
              <a:gd name="connsiteX4" fmla="*/ 0 w 3564869"/>
              <a:gd name="connsiteY4" fmla="*/ 10653 h 4684409"/>
              <a:gd name="connsiteX5" fmla="*/ 1107429 w 3564869"/>
              <a:gd name="connsiteY5" fmla="*/ 0 h 4684409"/>
              <a:gd name="connsiteX0" fmla="*/ 1107429 w 3548243"/>
              <a:gd name="connsiteY0" fmla="*/ 0 h 4684409"/>
              <a:gd name="connsiteX1" fmla="*/ 3548243 w 3548243"/>
              <a:gd name="connsiteY1" fmla="*/ 2427317 h 4684409"/>
              <a:gd name="connsiteX2" fmla="*/ 1303807 w 3548243"/>
              <a:gd name="connsiteY2" fmla="*/ 4684408 h 4684409"/>
              <a:gd name="connsiteX3" fmla="*/ 151466 w 3548243"/>
              <a:gd name="connsiteY3" fmla="*/ 4684409 h 4684409"/>
              <a:gd name="connsiteX4" fmla="*/ 0 w 3548243"/>
              <a:gd name="connsiteY4" fmla="*/ 10653 h 4684409"/>
              <a:gd name="connsiteX5" fmla="*/ 1107429 w 3548243"/>
              <a:gd name="connsiteY5" fmla="*/ 0 h 4684409"/>
              <a:gd name="connsiteX0" fmla="*/ 955963 w 3396777"/>
              <a:gd name="connsiteY0" fmla="*/ 0 h 4684409"/>
              <a:gd name="connsiteX1" fmla="*/ 3396777 w 3396777"/>
              <a:gd name="connsiteY1" fmla="*/ 2427317 h 4684409"/>
              <a:gd name="connsiteX2" fmla="*/ 1152341 w 3396777"/>
              <a:gd name="connsiteY2" fmla="*/ 4684408 h 4684409"/>
              <a:gd name="connsiteX3" fmla="*/ 0 w 3396777"/>
              <a:gd name="connsiteY3" fmla="*/ 4684409 h 4684409"/>
              <a:gd name="connsiteX4" fmla="*/ 23101 w 3396777"/>
              <a:gd name="connsiteY4" fmla="*/ 18966 h 4684409"/>
              <a:gd name="connsiteX5" fmla="*/ 955963 w 3396777"/>
              <a:gd name="connsiteY5" fmla="*/ 0 h 4684409"/>
              <a:gd name="connsiteX0" fmla="*/ 955963 w 3396777"/>
              <a:gd name="connsiteY0" fmla="*/ 0 h 4684409"/>
              <a:gd name="connsiteX1" fmla="*/ 3396777 w 3396777"/>
              <a:gd name="connsiteY1" fmla="*/ 2427317 h 4684409"/>
              <a:gd name="connsiteX2" fmla="*/ 1152341 w 3396777"/>
              <a:gd name="connsiteY2" fmla="*/ 4684408 h 4684409"/>
              <a:gd name="connsiteX3" fmla="*/ 0 w 3396777"/>
              <a:gd name="connsiteY3" fmla="*/ 4684409 h 4684409"/>
              <a:gd name="connsiteX4" fmla="*/ 6476 w 3396777"/>
              <a:gd name="connsiteY4" fmla="*/ 1856078 h 4684409"/>
              <a:gd name="connsiteX5" fmla="*/ 23101 w 3396777"/>
              <a:gd name="connsiteY5" fmla="*/ 18966 h 4684409"/>
              <a:gd name="connsiteX6" fmla="*/ 955963 w 3396777"/>
              <a:gd name="connsiteY6" fmla="*/ 0 h 4684409"/>
              <a:gd name="connsiteX0" fmla="*/ 955963 w 3396777"/>
              <a:gd name="connsiteY0" fmla="*/ 0 h 4684409"/>
              <a:gd name="connsiteX1" fmla="*/ 3396777 w 3396777"/>
              <a:gd name="connsiteY1" fmla="*/ 2427317 h 4684409"/>
              <a:gd name="connsiteX2" fmla="*/ 1152341 w 3396777"/>
              <a:gd name="connsiteY2" fmla="*/ 4684408 h 4684409"/>
              <a:gd name="connsiteX3" fmla="*/ 0 w 3396777"/>
              <a:gd name="connsiteY3" fmla="*/ 4684409 h 4684409"/>
              <a:gd name="connsiteX4" fmla="*/ 2899305 w 3396777"/>
              <a:gd name="connsiteY4" fmla="*/ 2421344 h 4684409"/>
              <a:gd name="connsiteX5" fmla="*/ 23101 w 3396777"/>
              <a:gd name="connsiteY5" fmla="*/ 18966 h 4684409"/>
              <a:gd name="connsiteX6" fmla="*/ 955963 w 3396777"/>
              <a:gd name="connsiteY6" fmla="*/ 0 h 4684409"/>
              <a:gd name="connsiteX0" fmla="*/ 955963 w 3396777"/>
              <a:gd name="connsiteY0" fmla="*/ 0 h 4684409"/>
              <a:gd name="connsiteX1" fmla="*/ 3396777 w 3396777"/>
              <a:gd name="connsiteY1" fmla="*/ 2427317 h 4684409"/>
              <a:gd name="connsiteX2" fmla="*/ 1152341 w 3396777"/>
              <a:gd name="connsiteY2" fmla="*/ 4684408 h 4684409"/>
              <a:gd name="connsiteX3" fmla="*/ 0 w 3396777"/>
              <a:gd name="connsiteY3" fmla="*/ 4684409 h 4684409"/>
              <a:gd name="connsiteX4" fmla="*/ 2899305 w 3396777"/>
              <a:gd name="connsiteY4" fmla="*/ 2421344 h 4684409"/>
              <a:gd name="connsiteX5" fmla="*/ 23101 w 3396777"/>
              <a:gd name="connsiteY5" fmla="*/ 18966 h 4684409"/>
              <a:gd name="connsiteX6" fmla="*/ 955963 w 3396777"/>
              <a:gd name="connsiteY6" fmla="*/ 0 h 4684409"/>
              <a:gd name="connsiteX0" fmla="*/ 955963 w 3396777"/>
              <a:gd name="connsiteY0" fmla="*/ 0 h 4684409"/>
              <a:gd name="connsiteX1" fmla="*/ 3396777 w 3396777"/>
              <a:gd name="connsiteY1" fmla="*/ 2427317 h 4684409"/>
              <a:gd name="connsiteX2" fmla="*/ 1152341 w 3396777"/>
              <a:gd name="connsiteY2" fmla="*/ 4684408 h 4684409"/>
              <a:gd name="connsiteX3" fmla="*/ 0 w 3396777"/>
              <a:gd name="connsiteY3" fmla="*/ 4684409 h 4684409"/>
              <a:gd name="connsiteX4" fmla="*/ 2899305 w 3396777"/>
              <a:gd name="connsiteY4" fmla="*/ 2421344 h 4684409"/>
              <a:gd name="connsiteX5" fmla="*/ 23101 w 3396777"/>
              <a:gd name="connsiteY5" fmla="*/ 18966 h 4684409"/>
              <a:gd name="connsiteX6" fmla="*/ 955963 w 3396777"/>
              <a:gd name="connsiteY6" fmla="*/ 0 h 4684409"/>
              <a:gd name="connsiteX0" fmla="*/ 955963 w 3396777"/>
              <a:gd name="connsiteY0" fmla="*/ 0 h 4684416"/>
              <a:gd name="connsiteX1" fmla="*/ 3396777 w 3396777"/>
              <a:gd name="connsiteY1" fmla="*/ 2427317 h 4684416"/>
              <a:gd name="connsiteX2" fmla="*/ 1152341 w 3396777"/>
              <a:gd name="connsiteY2" fmla="*/ 4684408 h 4684416"/>
              <a:gd name="connsiteX3" fmla="*/ 0 w 3396777"/>
              <a:gd name="connsiteY3" fmla="*/ 4684409 h 4684416"/>
              <a:gd name="connsiteX4" fmla="*/ 2899305 w 3396777"/>
              <a:gd name="connsiteY4" fmla="*/ 2421344 h 4684416"/>
              <a:gd name="connsiteX5" fmla="*/ 23101 w 3396777"/>
              <a:gd name="connsiteY5" fmla="*/ 18966 h 4684416"/>
              <a:gd name="connsiteX6" fmla="*/ 955963 w 3396777"/>
              <a:gd name="connsiteY6" fmla="*/ 0 h 4684416"/>
              <a:gd name="connsiteX0" fmla="*/ 955963 w 3396777"/>
              <a:gd name="connsiteY0" fmla="*/ 0 h 4684416"/>
              <a:gd name="connsiteX1" fmla="*/ 3396777 w 3396777"/>
              <a:gd name="connsiteY1" fmla="*/ 2427317 h 4684416"/>
              <a:gd name="connsiteX2" fmla="*/ 1152341 w 3396777"/>
              <a:gd name="connsiteY2" fmla="*/ 4684408 h 4684416"/>
              <a:gd name="connsiteX3" fmla="*/ 0 w 3396777"/>
              <a:gd name="connsiteY3" fmla="*/ 4684409 h 4684416"/>
              <a:gd name="connsiteX4" fmla="*/ 2516919 w 3396777"/>
              <a:gd name="connsiteY4" fmla="*/ 2404719 h 4684416"/>
              <a:gd name="connsiteX5" fmla="*/ 23101 w 3396777"/>
              <a:gd name="connsiteY5" fmla="*/ 18966 h 4684416"/>
              <a:gd name="connsiteX6" fmla="*/ 955963 w 3396777"/>
              <a:gd name="connsiteY6" fmla="*/ 0 h 4684416"/>
              <a:gd name="connsiteX0" fmla="*/ 955963 w 3396777"/>
              <a:gd name="connsiteY0" fmla="*/ 0 h 4684416"/>
              <a:gd name="connsiteX1" fmla="*/ 3396777 w 3396777"/>
              <a:gd name="connsiteY1" fmla="*/ 2427317 h 4684416"/>
              <a:gd name="connsiteX2" fmla="*/ 1152341 w 3396777"/>
              <a:gd name="connsiteY2" fmla="*/ 4684408 h 4684416"/>
              <a:gd name="connsiteX3" fmla="*/ 0 w 3396777"/>
              <a:gd name="connsiteY3" fmla="*/ 4684409 h 4684416"/>
              <a:gd name="connsiteX4" fmla="*/ 2400541 w 3396777"/>
              <a:gd name="connsiteY4" fmla="*/ 2404719 h 4684416"/>
              <a:gd name="connsiteX5" fmla="*/ 23101 w 3396777"/>
              <a:gd name="connsiteY5" fmla="*/ 18966 h 4684416"/>
              <a:gd name="connsiteX6" fmla="*/ 955963 w 3396777"/>
              <a:gd name="connsiteY6" fmla="*/ 0 h 4684416"/>
              <a:gd name="connsiteX0" fmla="*/ 1280160 w 3720974"/>
              <a:gd name="connsiteY0" fmla="*/ 0 h 5149928"/>
              <a:gd name="connsiteX1" fmla="*/ 3720974 w 3720974"/>
              <a:gd name="connsiteY1" fmla="*/ 2427317 h 5149928"/>
              <a:gd name="connsiteX2" fmla="*/ 1476538 w 3720974"/>
              <a:gd name="connsiteY2" fmla="*/ 4684408 h 5149928"/>
              <a:gd name="connsiteX3" fmla="*/ 0 w 3720974"/>
              <a:gd name="connsiteY3" fmla="*/ 5149922 h 5149928"/>
              <a:gd name="connsiteX4" fmla="*/ 2724738 w 3720974"/>
              <a:gd name="connsiteY4" fmla="*/ 2404719 h 5149928"/>
              <a:gd name="connsiteX5" fmla="*/ 347298 w 3720974"/>
              <a:gd name="connsiteY5" fmla="*/ 18966 h 5149928"/>
              <a:gd name="connsiteX6" fmla="*/ 1280160 w 3720974"/>
              <a:gd name="connsiteY6" fmla="*/ 0 h 5149928"/>
              <a:gd name="connsiteX0" fmla="*/ 1280160 w 3720974"/>
              <a:gd name="connsiteY0" fmla="*/ 0 h 5149928"/>
              <a:gd name="connsiteX1" fmla="*/ 3720974 w 3720974"/>
              <a:gd name="connsiteY1" fmla="*/ 2427317 h 5149928"/>
              <a:gd name="connsiteX2" fmla="*/ 1027651 w 3720974"/>
              <a:gd name="connsiteY2" fmla="*/ 5149921 h 5149928"/>
              <a:gd name="connsiteX3" fmla="*/ 0 w 3720974"/>
              <a:gd name="connsiteY3" fmla="*/ 5149922 h 5149928"/>
              <a:gd name="connsiteX4" fmla="*/ 2724738 w 3720974"/>
              <a:gd name="connsiteY4" fmla="*/ 2404719 h 5149928"/>
              <a:gd name="connsiteX5" fmla="*/ 347298 w 3720974"/>
              <a:gd name="connsiteY5" fmla="*/ 18966 h 5149928"/>
              <a:gd name="connsiteX6" fmla="*/ 1280160 w 3720974"/>
              <a:gd name="connsiteY6" fmla="*/ 0 h 5149928"/>
              <a:gd name="connsiteX0" fmla="*/ 1321724 w 3720974"/>
              <a:gd name="connsiteY0" fmla="*/ 0 h 5141616"/>
              <a:gd name="connsiteX1" fmla="*/ 3720974 w 3720974"/>
              <a:gd name="connsiteY1" fmla="*/ 2419005 h 5141616"/>
              <a:gd name="connsiteX2" fmla="*/ 1027651 w 3720974"/>
              <a:gd name="connsiteY2" fmla="*/ 5141609 h 5141616"/>
              <a:gd name="connsiteX3" fmla="*/ 0 w 3720974"/>
              <a:gd name="connsiteY3" fmla="*/ 5141610 h 5141616"/>
              <a:gd name="connsiteX4" fmla="*/ 2724738 w 3720974"/>
              <a:gd name="connsiteY4" fmla="*/ 2396407 h 5141616"/>
              <a:gd name="connsiteX5" fmla="*/ 347298 w 3720974"/>
              <a:gd name="connsiteY5" fmla="*/ 10654 h 5141616"/>
              <a:gd name="connsiteX6" fmla="*/ 1321724 w 3720974"/>
              <a:gd name="connsiteY6" fmla="*/ 0 h 5141616"/>
              <a:gd name="connsiteX0" fmla="*/ 1321724 w 3720974"/>
              <a:gd name="connsiteY0" fmla="*/ 0 h 5141616"/>
              <a:gd name="connsiteX1" fmla="*/ 3720974 w 3720974"/>
              <a:gd name="connsiteY1" fmla="*/ 2419005 h 5141616"/>
              <a:gd name="connsiteX2" fmla="*/ 1027651 w 3720974"/>
              <a:gd name="connsiteY2" fmla="*/ 5141609 h 5141616"/>
              <a:gd name="connsiteX3" fmla="*/ 0 w 3720974"/>
              <a:gd name="connsiteY3" fmla="*/ 5141610 h 5141616"/>
              <a:gd name="connsiteX4" fmla="*/ 2724738 w 3720974"/>
              <a:gd name="connsiteY4" fmla="*/ 2396407 h 5141616"/>
              <a:gd name="connsiteX5" fmla="*/ 297422 w 3720974"/>
              <a:gd name="connsiteY5" fmla="*/ 18967 h 5141616"/>
              <a:gd name="connsiteX6" fmla="*/ 1321724 w 3720974"/>
              <a:gd name="connsiteY6" fmla="*/ 0 h 5141616"/>
              <a:gd name="connsiteX0" fmla="*/ 1321724 w 3720974"/>
              <a:gd name="connsiteY0" fmla="*/ 0 h 5141616"/>
              <a:gd name="connsiteX1" fmla="*/ 3720974 w 3720974"/>
              <a:gd name="connsiteY1" fmla="*/ 2419005 h 5141616"/>
              <a:gd name="connsiteX2" fmla="*/ 1027651 w 3720974"/>
              <a:gd name="connsiteY2" fmla="*/ 5141609 h 5141616"/>
              <a:gd name="connsiteX3" fmla="*/ 0 w 3720974"/>
              <a:gd name="connsiteY3" fmla="*/ 5141610 h 5141616"/>
              <a:gd name="connsiteX4" fmla="*/ 2724738 w 3720974"/>
              <a:gd name="connsiteY4" fmla="*/ 2396407 h 5141616"/>
              <a:gd name="connsiteX5" fmla="*/ 264172 w 3720974"/>
              <a:gd name="connsiteY5" fmla="*/ 10654 h 5141616"/>
              <a:gd name="connsiteX6" fmla="*/ 1321724 w 3720974"/>
              <a:gd name="connsiteY6" fmla="*/ 0 h 5141616"/>
              <a:gd name="connsiteX0" fmla="*/ 1321724 w 3720974"/>
              <a:gd name="connsiteY0" fmla="*/ 0 h 5141616"/>
              <a:gd name="connsiteX1" fmla="*/ 3720974 w 3720974"/>
              <a:gd name="connsiteY1" fmla="*/ 2419005 h 5141616"/>
              <a:gd name="connsiteX2" fmla="*/ 1027651 w 3720974"/>
              <a:gd name="connsiteY2" fmla="*/ 5141609 h 5141616"/>
              <a:gd name="connsiteX3" fmla="*/ 0 w 3720974"/>
              <a:gd name="connsiteY3" fmla="*/ 5141610 h 5141616"/>
              <a:gd name="connsiteX4" fmla="*/ 2741364 w 3720974"/>
              <a:gd name="connsiteY4" fmla="*/ 2396407 h 5141616"/>
              <a:gd name="connsiteX5" fmla="*/ 264172 w 3720974"/>
              <a:gd name="connsiteY5" fmla="*/ 10654 h 5141616"/>
              <a:gd name="connsiteX6" fmla="*/ 1321724 w 3720974"/>
              <a:gd name="connsiteY6" fmla="*/ 0 h 5141616"/>
              <a:gd name="connsiteX0" fmla="*/ 1321724 w 3720974"/>
              <a:gd name="connsiteY0" fmla="*/ 0 h 5141616"/>
              <a:gd name="connsiteX1" fmla="*/ 3720974 w 3720974"/>
              <a:gd name="connsiteY1" fmla="*/ 2419005 h 5141616"/>
              <a:gd name="connsiteX2" fmla="*/ 1027651 w 3720974"/>
              <a:gd name="connsiteY2" fmla="*/ 5141609 h 5141616"/>
              <a:gd name="connsiteX3" fmla="*/ 0 w 3720974"/>
              <a:gd name="connsiteY3" fmla="*/ 5141610 h 5141616"/>
              <a:gd name="connsiteX4" fmla="*/ 2724739 w 3720974"/>
              <a:gd name="connsiteY4" fmla="*/ 2429658 h 5141616"/>
              <a:gd name="connsiteX5" fmla="*/ 264172 w 3720974"/>
              <a:gd name="connsiteY5" fmla="*/ 10654 h 5141616"/>
              <a:gd name="connsiteX6" fmla="*/ 1321724 w 3720974"/>
              <a:gd name="connsiteY6" fmla="*/ 0 h 5141616"/>
              <a:gd name="connsiteX0" fmla="*/ 1321724 w 3720974"/>
              <a:gd name="connsiteY0" fmla="*/ 0 h 5141616"/>
              <a:gd name="connsiteX1" fmla="*/ 3720974 w 3720974"/>
              <a:gd name="connsiteY1" fmla="*/ 2419005 h 5141616"/>
              <a:gd name="connsiteX2" fmla="*/ 1027651 w 3720974"/>
              <a:gd name="connsiteY2" fmla="*/ 5141609 h 5141616"/>
              <a:gd name="connsiteX3" fmla="*/ 0 w 3720974"/>
              <a:gd name="connsiteY3" fmla="*/ 5141610 h 5141616"/>
              <a:gd name="connsiteX4" fmla="*/ 2724739 w 3720974"/>
              <a:gd name="connsiteY4" fmla="*/ 2429658 h 5141616"/>
              <a:gd name="connsiteX5" fmla="*/ 222608 w 3720974"/>
              <a:gd name="connsiteY5" fmla="*/ 10654 h 5141616"/>
              <a:gd name="connsiteX6" fmla="*/ 1321724 w 3720974"/>
              <a:gd name="connsiteY6" fmla="*/ 0 h 5141616"/>
              <a:gd name="connsiteX0" fmla="*/ 1321724 w 3720974"/>
              <a:gd name="connsiteY0" fmla="*/ 0 h 5141616"/>
              <a:gd name="connsiteX1" fmla="*/ 3720974 w 3720974"/>
              <a:gd name="connsiteY1" fmla="*/ 2419005 h 5141616"/>
              <a:gd name="connsiteX2" fmla="*/ 1027651 w 3720974"/>
              <a:gd name="connsiteY2" fmla="*/ 5141609 h 5141616"/>
              <a:gd name="connsiteX3" fmla="*/ 0 w 3720974"/>
              <a:gd name="connsiteY3" fmla="*/ 5141610 h 5141616"/>
              <a:gd name="connsiteX4" fmla="*/ 2176099 w 3720974"/>
              <a:gd name="connsiteY4" fmla="*/ 2404720 h 5141616"/>
              <a:gd name="connsiteX5" fmla="*/ 222608 w 3720974"/>
              <a:gd name="connsiteY5" fmla="*/ 10654 h 5141616"/>
              <a:gd name="connsiteX6" fmla="*/ 1321724 w 3720974"/>
              <a:gd name="connsiteY6" fmla="*/ 0 h 5141616"/>
              <a:gd name="connsiteX0" fmla="*/ 1714258 w 4113508"/>
              <a:gd name="connsiteY0" fmla="*/ 0 h 5141616"/>
              <a:gd name="connsiteX1" fmla="*/ 4113508 w 4113508"/>
              <a:gd name="connsiteY1" fmla="*/ 2419005 h 5141616"/>
              <a:gd name="connsiteX2" fmla="*/ 1420185 w 4113508"/>
              <a:gd name="connsiteY2" fmla="*/ 5141609 h 5141616"/>
              <a:gd name="connsiteX3" fmla="*/ 392534 w 4113508"/>
              <a:gd name="connsiteY3" fmla="*/ 5141610 h 5141616"/>
              <a:gd name="connsiteX4" fmla="*/ 2568633 w 4113508"/>
              <a:gd name="connsiteY4" fmla="*/ 2404720 h 5141616"/>
              <a:gd name="connsiteX5" fmla="*/ 0 w 4113508"/>
              <a:gd name="connsiteY5" fmla="*/ 10654 h 5141616"/>
              <a:gd name="connsiteX6" fmla="*/ 1714258 w 4113508"/>
              <a:gd name="connsiteY6" fmla="*/ 0 h 5141616"/>
              <a:gd name="connsiteX0" fmla="*/ 1720735 w 4119985"/>
              <a:gd name="connsiteY0" fmla="*/ 0 h 5141616"/>
              <a:gd name="connsiteX1" fmla="*/ 4119985 w 4119985"/>
              <a:gd name="connsiteY1" fmla="*/ 2419005 h 5141616"/>
              <a:gd name="connsiteX2" fmla="*/ 1426662 w 4119985"/>
              <a:gd name="connsiteY2" fmla="*/ 5141609 h 5141616"/>
              <a:gd name="connsiteX3" fmla="*/ 0 w 4119985"/>
              <a:gd name="connsiteY3" fmla="*/ 5141610 h 5141616"/>
              <a:gd name="connsiteX4" fmla="*/ 2575110 w 4119985"/>
              <a:gd name="connsiteY4" fmla="*/ 2404720 h 5141616"/>
              <a:gd name="connsiteX5" fmla="*/ 6477 w 4119985"/>
              <a:gd name="connsiteY5" fmla="*/ 10654 h 5141616"/>
              <a:gd name="connsiteX6" fmla="*/ 1720735 w 4119985"/>
              <a:gd name="connsiteY6" fmla="*/ 0 h 5141616"/>
              <a:gd name="connsiteX0" fmla="*/ 1612670 w 4119985"/>
              <a:gd name="connsiteY0" fmla="*/ 5971 h 5130962"/>
              <a:gd name="connsiteX1" fmla="*/ 4119985 w 4119985"/>
              <a:gd name="connsiteY1" fmla="*/ 2408351 h 5130962"/>
              <a:gd name="connsiteX2" fmla="*/ 1426662 w 4119985"/>
              <a:gd name="connsiteY2" fmla="*/ 5130955 h 5130962"/>
              <a:gd name="connsiteX3" fmla="*/ 0 w 4119985"/>
              <a:gd name="connsiteY3" fmla="*/ 5130956 h 5130962"/>
              <a:gd name="connsiteX4" fmla="*/ 2575110 w 4119985"/>
              <a:gd name="connsiteY4" fmla="*/ 2394066 h 5130962"/>
              <a:gd name="connsiteX5" fmla="*/ 6477 w 4119985"/>
              <a:gd name="connsiteY5" fmla="*/ 0 h 5130962"/>
              <a:gd name="connsiteX6" fmla="*/ 1612670 w 4119985"/>
              <a:gd name="connsiteY6" fmla="*/ 5971 h 5130962"/>
              <a:gd name="connsiteX0" fmla="*/ 1612670 w 4119985"/>
              <a:gd name="connsiteY0" fmla="*/ 5971 h 5139267"/>
              <a:gd name="connsiteX1" fmla="*/ 4119985 w 4119985"/>
              <a:gd name="connsiteY1" fmla="*/ 2408351 h 5139267"/>
              <a:gd name="connsiteX2" fmla="*/ 1626168 w 4119985"/>
              <a:gd name="connsiteY2" fmla="*/ 5139267 h 5139267"/>
              <a:gd name="connsiteX3" fmla="*/ 0 w 4119985"/>
              <a:gd name="connsiteY3" fmla="*/ 5130956 h 5139267"/>
              <a:gd name="connsiteX4" fmla="*/ 2575110 w 4119985"/>
              <a:gd name="connsiteY4" fmla="*/ 2394066 h 5139267"/>
              <a:gd name="connsiteX5" fmla="*/ 6477 w 4119985"/>
              <a:gd name="connsiteY5" fmla="*/ 0 h 5139267"/>
              <a:gd name="connsiteX6" fmla="*/ 1612670 w 4119985"/>
              <a:gd name="connsiteY6" fmla="*/ 5971 h 5139267"/>
              <a:gd name="connsiteX0" fmla="*/ 1612670 w 4119985"/>
              <a:gd name="connsiteY0" fmla="*/ 5971 h 5139267"/>
              <a:gd name="connsiteX1" fmla="*/ 4119985 w 4119985"/>
              <a:gd name="connsiteY1" fmla="*/ 2408351 h 5139267"/>
              <a:gd name="connsiteX2" fmla="*/ 1567979 w 4119985"/>
              <a:gd name="connsiteY2" fmla="*/ 5139267 h 5139267"/>
              <a:gd name="connsiteX3" fmla="*/ 0 w 4119985"/>
              <a:gd name="connsiteY3" fmla="*/ 5130956 h 5139267"/>
              <a:gd name="connsiteX4" fmla="*/ 2575110 w 4119985"/>
              <a:gd name="connsiteY4" fmla="*/ 2394066 h 5139267"/>
              <a:gd name="connsiteX5" fmla="*/ 6477 w 4119985"/>
              <a:gd name="connsiteY5" fmla="*/ 0 h 5139267"/>
              <a:gd name="connsiteX6" fmla="*/ 1612670 w 4119985"/>
              <a:gd name="connsiteY6" fmla="*/ 5971 h 5139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19985" h="5139267">
                <a:moveTo>
                  <a:pt x="1612670" y="5971"/>
                </a:moveTo>
                <a:lnTo>
                  <a:pt x="4119985" y="2408351"/>
                </a:lnTo>
                <a:lnTo>
                  <a:pt x="1567979" y="5139267"/>
                </a:lnTo>
                <a:lnTo>
                  <a:pt x="0" y="5130956"/>
                </a:lnTo>
                <a:cubicBezTo>
                  <a:pt x="10471" y="5135830"/>
                  <a:pt x="2581264" y="2389192"/>
                  <a:pt x="2575110" y="2394066"/>
                </a:cubicBezTo>
                <a:cubicBezTo>
                  <a:pt x="2597277" y="2391295"/>
                  <a:pt x="965212" y="800793"/>
                  <a:pt x="6477" y="0"/>
                </a:cubicBezTo>
                <a:lnTo>
                  <a:pt x="1612670" y="5971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84000"/>
                  <a:lumOff val="16000"/>
                </a:schemeClr>
              </a:gs>
              <a:gs pos="57000">
                <a:srgbClr val="1E3860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93927" y="2549269"/>
            <a:ext cx="4520974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25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0" y="3639134"/>
            <a:ext cx="4521200" cy="410319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2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3085" y="4682069"/>
            <a:ext cx="4521815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000" kern="120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FB388260-FA83-D44B-8EFC-CB12781C5A5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49268" y="4588770"/>
            <a:ext cx="1458732" cy="429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171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19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953037"/>
            <a:ext cx="6331109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3596268"/>
            <a:ext cx="6331109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6AF80E56-43CB-DE49-875D-DA1C86D6F96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70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2207549"/>
            <a:ext cx="6331106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6331106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F23B54FF-FFF3-3540-86C0-0D0237E8886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471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041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6331106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6331109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6331109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E1C30091-7A6B-674A-BE9A-4AD55C06940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7370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3125131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1522141"/>
            <a:ext cx="3125131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63553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463553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2C3F1E59-8539-1546-A660-61C16A3C94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6119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48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6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6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3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2420913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420913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420912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4584248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37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4584248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4584247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A08CBA0F-3471-E74E-A14C-42E5387F273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560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71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0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1522141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63553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463553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57575" y="3518209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3463553" y="3518209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257575" y="2949105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3463553" y="2949105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57575" y="3434575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3463553" y="3434575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639E3EC1-DE43-2449-8FD6-DA9C35E7E1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054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79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642938"/>
            <a:ext cx="6858000" cy="3857625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6062" y="869949"/>
            <a:ext cx="6355459" cy="335078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B0B7FE55-ABC5-0A45-9EB2-0F3A12D8C8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8827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354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hidden">
          <a:xfrm>
            <a:off x="0" y="642938"/>
            <a:ext cx="6858000" cy="3857625"/>
            <a:chOff x="0" y="642938"/>
            <a:chExt cx="6858000" cy="3857625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0" y="642938"/>
              <a:ext cx="6858000" cy="38576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 bwMode="hidden">
            <a:xfrm>
              <a:off x="6012180" y="3997643"/>
              <a:ext cx="685800" cy="342900"/>
            </a:xfrm>
            <a:prstGeom prst="rect">
              <a:avLst/>
            </a:prstGeom>
            <a:solidFill>
              <a:srgbClr val="F4F4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376855" y="2130901"/>
            <a:ext cx="409830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3500" spc="-113" smtClean="0">
                <a:solidFill>
                  <a:schemeClr val="tx2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ctr" defTabSz="45720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EFD6BD06-698E-FA47-8D5A-7387883A15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89206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831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22" name="Group 21"/>
          <p:cNvGrpSpPr/>
          <p:nvPr userDrawn="1"/>
        </p:nvGrpSpPr>
        <p:grpSpPr bwMode="hidden">
          <a:xfrm>
            <a:off x="0" y="642938"/>
            <a:ext cx="6858000" cy="3857625"/>
            <a:chOff x="0" y="642938"/>
            <a:chExt cx="6858000" cy="3857625"/>
          </a:xfrm>
        </p:grpSpPr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0" y="642938"/>
              <a:ext cx="6858000" cy="3857625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 userDrawn="1"/>
          </p:nvSpPr>
          <p:spPr bwMode="hidden">
            <a:xfrm>
              <a:off x="6012180" y="3997643"/>
              <a:ext cx="685800" cy="342900"/>
            </a:xfrm>
            <a:prstGeom prst="rect">
              <a:avLst/>
            </a:prstGeom>
            <a:solidFill>
              <a:srgbClr val="F4F4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257175" y="1009650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257175" y="1408771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257175" y="1807892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57175" y="2207013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57175" y="2606134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257175" y="3005253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90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E6E84DC0-0D1A-9841-B018-E25F937034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758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7520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257575" y="953037"/>
            <a:ext cx="6331106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7E9BD00D-EFF2-6F4A-B154-40AEF478AA5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791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67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6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BA2F1B75-6F05-3B47-944B-10E25475108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803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878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3463553" y="953037"/>
            <a:ext cx="3125131" cy="3642122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14F9568A-C947-E84F-8B36-9AB6C85AE6D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4532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463550" y="953037"/>
            <a:ext cx="3125131" cy="3642122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7" y="953037"/>
            <a:ext cx="3125131" cy="3642122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B5216892-5D6C-B045-B77F-255A76B9D41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402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3436937" y="953036"/>
            <a:ext cx="3151743" cy="364158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F417D912-5B7B-E349-B026-EAC822ACA45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094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463550" y="953037"/>
            <a:ext cx="3125131" cy="3642122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257175" y="953036"/>
            <a:ext cx="3151743" cy="364158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109071F-FA63-5644-A519-BE233ED61C4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2066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953037"/>
            <a:ext cx="3125131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3596268"/>
            <a:ext cx="3125131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3463550" y="953037"/>
            <a:ext cx="3125131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463550" y="3596268"/>
            <a:ext cx="3125131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6"/>
              </a:buBlip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3A8C1B59-43A6-EC40-9D84-3344727F1B3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715001" y="169705"/>
            <a:ext cx="885422" cy="26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42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09699449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9EDC855F-5393-4ECC-82A4-1DDB6B23846B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199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1" r:id="rId2"/>
    <p:sldLayoutId id="2147483649" r:id="rId3"/>
    <p:sldLayoutId id="2147483650" r:id="rId4"/>
    <p:sldLayoutId id="2147483653" r:id="rId5"/>
    <p:sldLayoutId id="2147483663" r:id="rId6"/>
    <p:sldLayoutId id="2147483666" r:id="rId7"/>
    <p:sldLayoutId id="2147483667" r:id="rId8"/>
    <p:sldLayoutId id="2147483659" r:id="rId9"/>
    <p:sldLayoutId id="2147483654" r:id="rId10"/>
    <p:sldLayoutId id="2147483662" r:id="rId11"/>
    <p:sldLayoutId id="2147483655" r:id="rId12"/>
    <p:sldLayoutId id="2147483664" r:id="rId13"/>
    <p:sldLayoutId id="2147483656" r:id="rId14"/>
    <p:sldLayoutId id="2147483657" r:id="rId15"/>
    <p:sldLayoutId id="2147483658" r:id="rId16"/>
    <p:sldLayoutId id="2147483660" r:id="rId17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22"/>
        </a:buBlip>
        <a:defRPr sz="12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  <a:lvl2pPr marL="557213" indent="-214313" algn="l" defTabSz="342900" rtl="0" eaLnBrk="1" latinLnBrk="0" hangingPunct="1">
        <a:spcBef>
          <a:spcPct val="20000"/>
        </a:spcBef>
        <a:buClr>
          <a:srgbClr val="1E3860"/>
        </a:buClr>
        <a:buFont typeface="Wingdings" panose="05000000000000000000" pitchFamily="2" charset="2"/>
        <a:buChar char="§"/>
        <a:defRPr sz="11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2pPr>
      <a:lvl3pPr marL="857250" indent="-171450" algn="l" defTabSz="342900" rtl="0" eaLnBrk="1" latinLnBrk="0" hangingPunct="1">
        <a:spcBef>
          <a:spcPct val="20000"/>
        </a:spcBef>
        <a:buFontTx/>
        <a:buBlip>
          <a:blip r:embed="rId22"/>
        </a:buBlip>
        <a:defRPr sz="105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0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4pPr>
      <a:lvl5pPr marL="1543050" indent="-171450" algn="l" defTabSz="342900" rtl="0" eaLnBrk="1" latinLnBrk="0" hangingPunct="1">
        <a:spcBef>
          <a:spcPct val="20000"/>
        </a:spcBef>
        <a:buClr>
          <a:srgbClr val="FAA661"/>
        </a:buClr>
        <a:buFontTx/>
        <a:buBlip>
          <a:blip r:embed="rId22"/>
        </a:buBlip>
        <a:defRPr sz="10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926" y="2163170"/>
            <a:ext cx="4990115" cy="1136726"/>
          </a:xfrm>
        </p:spPr>
        <p:txBody>
          <a:bodyPr/>
          <a:lstStyle/>
          <a:p>
            <a:r>
              <a:rPr lang="en-US" dirty="0"/>
              <a:t>Introducing Mediant for Your Investor Communications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93926" y="3297034"/>
            <a:ext cx="4521200" cy="1136726"/>
          </a:xfrm>
        </p:spPr>
        <p:txBody>
          <a:bodyPr/>
          <a:lstStyle/>
          <a:p>
            <a:r>
              <a:rPr lang="en-US" dirty="0"/>
              <a:t>Katie Green		</a:t>
            </a:r>
          </a:p>
          <a:p>
            <a:r>
              <a:rPr lang="en-US" dirty="0"/>
              <a:t>Director, Product Management</a:t>
            </a:r>
          </a:p>
          <a:p>
            <a:endParaRPr lang="en-US" dirty="0"/>
          </a:p>
          <a:p>
            <a:r>
              <a:rPr lang="en-US" dirty="0"/>
              <a:t>Lindsey Semptimphelter</a:t>
            </a:r>
          </a:p>
          <a:p>
            <a:r>
              <a:rPr lang="en-US" dirty="0"/>
              <a:t>Senior Relationship Manager, Median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rch 2022</a:t>
            </a:r>
          </a:p>
        </p:txBody>
      </p:sp>
    </p:spTree>
    <p:extLst>
      <p:ext uri="{BB962C8B-B14F-4D97-AF65-F5344CB8AC3E}">
        <p14:creationId xmlns:p14="http://schemas.microsoft.com/office/powerpoint/2010/main" val="3808089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2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53" dirty="0">
                <a:solidFill>
                  <a:srgbClr val="1F3861"/>
                </a:solidFill>
              </a:rPr>
              <a:t>Advantage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257575" y="953037"/>
            <a:ext cx="4928573" cy="3814226"/>
          </a:xfrm>
        </p:spPr>
        <p:txBody>
          <a:bodyPr/>
          <a:lstStyle/>
          <a:p>
            <a:r>
              <a:rPr lang="en-US" dirty="0"/>
              <a:t>On-line access to all communications</a:t>
            </a:r>
          </a:p>
          <a:p>
            <a:pPr lvl="1"/>
            <a:r>
              <a:rPr lang="en-US" dirty="0"/>
              <a:t>RIAs can view notices and make selections as needed for:</a:t>
            </a:r>
          </a:p>
          <a:p>
            <a:pPr lvl="2"/>
            <a:r>
              <a:rPr lang="en-US" dirty="0"/>
              <a:t>Voluntary Corporate Action Notices</a:t>
            </a:r>
          </a:p>
          <a:p>
            <a:pPr lvl="2"/>
            <a:r>
              <a:rPr lang="en-US" dirty="0"/>
              <a:t>Mandatory Corporate Action Notices</a:t>
            </a:r>
          </a:p>
          <a:p>
            <a:pPr lvl="2"/>
            <a:r>
              <a:rPr lang="en-US" dirty="0"/>
              <a:t>Proxy Voting Information</a:t>
            </a:r>
          </a:p>
          <a:p>
            <a:pPr lvl="2"/>
            <a:r>
              <a:rPr lang="en-US" dirty="0"/>
              <a:t>Post-Sale Fulfillment - Prospectus Information</a:t>
            </a:r>
          </a:p>
          <a:p>
            <a:pPr lvl="1"/>
            <a:r>
              <a:rPr lang="en-US" dirty="0"/>
              <a:t>Includes 6 months of History!</a:t>
            </a:r>
          </a:p>
          <a:p>
            <a:pPr lvl="1"/>
            <a:r>
              <a:rPr lang="en-US" dirty="0"/>
              <a:t>Includes client position details!</a:t>
            </a:r>
          </a:p>
          <a:p>
            <a:endParaRPr lang="en-US" dirty="0"/>
          </a:p>
          <a:p>
            <a:r>
              <a:rPr lang="en-US" dirty="0"/>
              <a:t>Timely Notifications and Elections</a:t>
            </a:r>
          </a:p>
          <a:p>
            <a:pPr lvl="1"/>
            <a:r>
              <a:rPr lang="en-US" dirty="0"/>
              <a:t>Emailed Event Notifications – Informs RIAs when action needed</a:t>
            </a:r>
          </a:p>
          <a:p>
            <a:pPr lvl="1"/>
            <a:r>
              <a:rPr lang="en-US" dirty="0"/>
              <a:t>View account holdings – act on all accounts or select accounts</a:t>
            </a:r>
          </a:p>
          <a:p>
            <a:pPr lvl="1"/>
            <a:r>
              <a:rPr lang="en-US" dirty="0"/>
              <a:t>Voluntary Corporate Actions – no need to email elections</a:t>
            </a:r>
          </a:p>
          <a:p>
            <a:pPr lvl="1"/>
            <a:endParaRPr lang="en-US" dirty="0"/>
          </a:p>
          <a:p>
            <a:r>
              <a:rPr lang="en-US" dirty="0"/>
              <a:t>Investor Client Experience</a:t>
            </a:r>
          </a:p>
          <a:p>
            <a:pPr lvl="1"/>
            <a:r>
              <a:rPr lang="en-US" dirty="0"/>
              <a:t>Investors can access on-line, even if getting paper notices</a:t>
            </a:r>
          </a:p>
          <a:p>
            <a:pPr lvl="1"/>
            <a:r>
              <a:rPr lang="en-US" dirty="0"/>
              <a:t>Easy voting using mobile app</a:t>
            </a:r>
          </a:p>
          <a:p>
            <a:pPr lvl="1"/>
            <a:r>
              <a:rPr lang="en-US" dirty="0"/>
              <a:t>Consistent and modern client communications, all branded to AAS</a:t>
            </a:r>
          </a:p>
          <a:p>
            <a:pPr lvl="1"/>
            <a:r>
              <a:rPr lang="en-US" dirty="0"/>
              <a:t>Proactive information about failed email deliveries</a:t>
            </a:r>
          </a:p>
          <a:p>
            <a:pPr lvl="1"/>
            <a:r>
              <a:rPr lang="en-US" dirty="0"/>
              <a:t>Extensive tracking of emails and documents sent means faster answers to client inquiri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pc="-53" dirty="0"/>
              <a:t>What are the advantages of using Mediant?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EDC855F-5393-4ECC-82A4-1DDB6B23846B}" type="slidenum">
              <a:rPr lang="en-US" smtClean="0"/>
              <a:t>2</a:t>
            </a:fld>
            <a:endParaRPr lang="en-US" dirty="0"/>
          </a:p>
        </p:txBody>
      </p:sp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20969B3-9297-458C-8A13-AF9F9939BD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98190" y="1600752"/>
            <a:ext cx="1377299" cy="2582839"/>
          </a:xfrm>
          <a:prstGeom prst="rect">
            <a:avLst/>
          </a:prstGeom>
          <a:ln w="3175">
            <a:solidFill>
              <a:schemeClr val="accent4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71953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5WoxFOkE"/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uHGWdZTXSHJnUNPthD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z8lDShTUaL2AIjOFHx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8eiHH9RCqBB4q3Kod6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heme/theme1.xml><?xml version="1.0" encoding="utf-8"?>
<a:theme xmlns:a="http://schemas.openxmlformats.org/drawingml/2006/main" name="Office Theme">
  <a:themeElements>
    <a:clrScheme name="Axos colors">
      <a:dk1>
        <a:srgbClr val="1E3860"/>
      </a:dk1>
      <a:lt1>
        <a:srgbClr val="FFFFFF"/>
      </a:lt1>
      <a:dk2>
        <a:srgbClr val="1E3860"/>
      </a:dk2>
      <a:lt2>
        <a:srgbClr val="FFFFFF"/>
      </a:lt2>
      <a:accent1>
        <a:srgbClr val="1E3860"/>
      </a:accent1>
      <a:accent2>
        <a:srgbClr val="FAA74A"/>
      </a:accent2>
      <a:accent3>
        <a:srgbClr val="DAE8ED"/>
      </a:accent3>
      <a:accent4>
        <a:srgbClr val="F4F4F4"/>
      </a:accent4>
      <a:accent5>
        <a:srgbClr val="FFFFFF"/>
      </a:accent5>
      <a:accent6>
        <a:srgbClr val="000000"/>
      </a:accent6>
      <a:hlink>
        <a:srgbClr val="0000FF"/>
      </a:hlink>
      <a:folHlink>
        <a:srgbClr val="800080"/>
      </a:folHlink>
    </a:clrScheme>
    <a:fontScheme name="Axos backup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chemeClr val="accen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D3983AF73BE44B9A8FF26919CCBFFB" ma:contentTypeVersion="3" ma:contentTypeDescription="Create a new document." ma:contentTypeScope="" ma:versionID="0c7004e14bf1a2c915da4d41181e9680">
  <xsd:schema xmlns:xsd="http://www.w3.org/2001/XMLSchema" xmlns:xs="http://www.w3.org/2001/XMLSchema" xmlns:p="http://schemas.microsoft.com/office/2006/metadata/properties" xmlns:ns2="92d8c893-4a11-4983-ac90-a8fa61f864f9" xmlns:ns3="cbb33dfe-3d29-4408-b737-1153e825c715" targetNamespace="http://schemas.microsoft.com/office/2006/metadata/properties" ma:root="true" ma:fieldsID="75ff6f22b43b43bd2fbb72e753af1ff0" ns2:_="" ns3:_="">
    <xsd:import namespace="92d8c893-4a11-4983-ac90-a8fa61f864f9"/>
    <xsd:import namespace="cbb33dfe-3d29-4408-b737-1153e825c715"/>
    <xsd:element name="properties">
      <xsd:complexType>
        <xsd:sequence>
          <xsd:element name="documentManagement">
            <xsd:complexType>
              <xsd:all>
                <xsd:element ref="ns2:Document_x0020_Typ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d8c893-4a11-4983-ac90-a8fa61f864f9" elementFormDefault="qualified">
    <xsd:import namespace="http://schemas.microsoft.com/office/2006/documentManagement/types"/>
    <xsd:import namespace="http://schemas.microsoft.com/office/infopath/2007/PartnerControls"/>
    <xsd:element name="Document_x0020_Type" ma:index="8" nillable="true" ma:displayName="Document Type" ma:internalName="Document_x0020_Typ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33dfe-3d29-4408-b737-1153e825c715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Type xmlns="92d8c893-4a11-4983-ac90-a8fa61f864f9" xsi:nil="true"/>
  </documentManagement>
</p:properties>
</file>

<file path=customXml/itemProps1.xml><?xml version="1.0" encoding="utf-8"?>
<ds:datastoreItem xmlns:ds="http://schemas.openxmlformats.org/officeDocument/2006/customXml" ds:itemID="{FADABDDE-B95E-45C9-978A-6B108D3858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d8c893-4a11-4983-ac90-a8fa61f864f9"/>
    <ds:schemaRef ds:uri="cbb33dfe-3d29-4408-b737-1153e825c7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25F5AB7-045A-4470-8056-E917D2C279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A7F4C6-97CE-49F0-B367-90E7FE8E5D48}">
  <ds:schemaRefs>
    <ds:schemaRef ds:uri="cbb33dfe-3d29-4408-b737-1153e825c715"/>
    <ds:schemaRef ds:uri="http://purl.org/dc/terms/"/>
    <ds:schemaRef ds:uri="http://purl.org/dc/elements/1.1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92d8c893-4a11-4983-ac90-a8fa61f864f9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930</TotalTime>
  <Words>158</Words>
  <Application>Microsoft Office PowerPoint</Application>
  <PresentationFormat>Custom</PresentationFormat>
  <Paragraphs>3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Verdana</vt:lpstr>
      <vt:lpstr>Wingdings</vt:lpstr>
      <vt:lpstr>Office Theme</vt:lpstr>
      <vt:lpstr>think-cell Slide</vt:lpstr>
      <vt:lpstr>PowerPoint Presentation</vt:lpstr>
      <vt:lpstr>Advantages</vt:lpstr>
    </vt:vector>
  </TitlesOfParts>
  <Company>Axos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xos Bank</dc:creator>
  <cp:lastModifiedBy>Sharon Brett</cp:lastModifiedBy>
  <cp:revision>240</cp:revision>
  <cp:lastPrinted>2018-10-17T17:53:25Z</cp:lastPrinted>
  <dcterms:created xsi:type="dcterms:W3CDTF">2018-05-23T14:20:00Z</dcterms:created>
  <dcterms:modified xsi:type="dcterms:W3CDTF">2023-04-24T14:5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D3983AF73BE44B9A8FF26919CCBFFB</vt:lpwstr>
  </property>
</Properties>
</file>